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4577" r:id="rId1"/>
  </p:sldMasterIdLst>
  <p:notesMasterIdLst>
    <p:notesMasterId r:id="rId4"/>
  </p:notesMasterIdLst>
  <p:handoutMasterIdLst>
    <p:handoutMasterId r:id="rId5"/>
  </p:handoutMasterIdLst>
  <p:sldIdLst>
    <p:sldId id="848" r:id="rId2"/>
    <p:sldId id="849" r:id="rId3"/>
  </p:sldIdLst>
  <p:sldSz cx="12190413" cy="6858000"/>
  <p:notesSz cx="7102475" cy="10234613"/>
  <p:embeddedFontLst>
    <p:embeddedFont>
      <p:font typeface="ABBvoiceOffice" panose="020B0604020202020204" charset="0"/>
      <p:regular r:id="rId6"/>
      <p:bold r:id="rId7"/>
    </p:embeddedFont>
    <p:embeddedFont>
      <p:font typeface="Verdana" panose="020B0604030504040204" pitchFamily="34" charset="0"/>
      <p:regular r:id="rId8"/>
      <p:bold r:id="rId9"/>
      <p:italic r:id="rId10"/>
      <p:boldItalic r:id="rId11"/>
    </p:embeddedFont>
  </p:embeddedFontLst>
  <p:custShowLst>
    <p:custShow name="Basic Präsentation" id="0">
      <p:sldLst/>
    </p:custShow>
  </p:custShow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usan Liem" initials="" lastIdx="7" clrIdx="0"/>
  <p:cmAuthor id="1" name="Stefan Wicki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66FF"/>
    <a:srgbClr val="CCECFF"/>
    <a:srgbClr val="66CCFF"/>
    <a:srgbClr val="FF99FF"/>
    <a:srgbClr val="007A33"/>
    <a:srgbClr val="004C97"/>
    <a:srgbClr val="FFD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73F8A54-F971-430D-9108-034FE38666EA}" styleName="ABB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75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hemeClr val="dk1"/>
        </a:fontRef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15000" cmpd="sng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4" autoAdjust="0"/>
    <p:restoredTop sz="95561" autoAdjust="0"/>
  </p:normalViewPr>
  <p:slideViewPr>
    <p:cSldViewPr snapToGrid="0" snapToObjects="1">
      <p:cViewPr varScale="1">
        <p:scale>
          <a:sx n="100" d="100"/>
          <a:sy n="100" d="100"/>
        </p:scale>
        <p:origin x="858" y="84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483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1781"/>
    </p:cViewPr>
  </p:sorterViewPr>
  <p:notesViewPr>
    <p:cSldViewPr snapToGrid="0" snapToObjects="1">
      <p:cViewPr varScale="1">
        <p:scale>
          <a:sx n="74" d="100"/>
          <a:sy n="74" d="100"/>
        </p:scale>
        <p:origin x="2136" y="54"/>
      </p:cViewPr>
      <p:guideLst>
        <p:guide orient="horz" pos="3224"/>
        <p:guide pos="2237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font" Target="fonts/font2.fntdata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handoutMaster" Target="handoutMasters/handoutMaster1.xml"/><Relationship Id="rId15" Type="http://schemas.openxmlformats.org/officeDocument/2006/relationships/theme" Target="theme/theme1.xml"/><Relationship Id="rId10" Type="http://schemas.openxmlformats.org/officeDocument/2006/relationships/font" Target="fonts/font5.fntdata"/><Relationship Id="rId4" Type="http://schemas.openxmlformats.org/officeDocument/2006/relationships/notesMaster" Target="notesMasters/notesMaster1.xml"/><Relationship Id="rId9" Type="http://schemas.openxmlformats.org/officeDocument/2006/relationships/font" Target="fonts/font4.fntdata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4022725" y="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E944ED1E-A49F-41A3-9F0C-AC0D0EB85444}" type="datetimeFigureOut">
              <a:rPr lang="en-US"/>
              <a:pPr/>
              <a:t>4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0" y="972185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4022725" y="972185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A9809381-385A-4596-A92F-FDA493FABAB0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4022725" y="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3A20AB66-236A-4EE4-9B07-A8C4BCB3F290}" type="datetimeFigureOut">
              <a:rPr lang="en-US"/>
              <a:pPr/>
              <a:t>4/2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641350" y="768350"/>
            <a:ext cx="6819900" cy="383698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9066" tIns="49533" rIns="99066" bIns="49533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96875" y="4860925"/>
            <a:ext cx="6308725" cy="460533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72185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4022725" y="9721850"/>
            <a:ext cx="3078163" cy="511175"/>
          </a:xfrm>
          <a:prstGeom prst="rect">
            <a:avLst/>
          </a:prstGeom>
        </p:spPr>
        <p:txBody>
          <a:bodyPr vert="horz" wrap="square" lIns="99066" tIns="49533" rIns="99066" bIns="49533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6C02DA29-5EFC-440D-B088-7647B32384FF}" type="slidenum">
              <a:rPr lang="en-US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179388" indent="-179388" algn="l" rtl="0" fontAlgn="base">
      <a:spcBef>
        <a:spcPct val="30000"/>
      </a:spcBef>
      <a:spcAft>
        <a:spcPct val="0"/>
      </a:spcAft>
      <a:buFont typeface="Arial" charset="0"/>
      <a:buChar char="–"/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358775" indent="-179388" algn="l" rtl="0" fontAlgn="base">
      <a:spcBef>
        <a:spcPct val="30000"/>
      </a:spcBef>
      <a:spcAft>
        <a:spcPct val="0"/>
      </a:spcAft>
      <a:buFont typeface="ABBvoiceOffice"/>
      <a:buChar char="•"/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358775" indent="-179388" algn="l" rtl="0" fontAlgn="base">
      <a:spcBef>
        <a:spcPct val="30000"/>
      </a:spcBef>
      <a:spcAft>
        <a:spcPct val="0"/>
      </a:spcAft>
      <a:buFont typeface="ABBvoiceOffice"/>
      <a:buChar char="•"/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358775" indent="-179388" algn="l" rtl="0" fontAlgn="base">
      <a:spcBef>
        <a:spcPct val="30000"/>
      </a:spcBef>
      <a:spcAft>
        <a:spcPct val="0"/>
      </a:spcAft>
      <a:buFont typeface="ABBvoiceOffice"/>
      <a:buChar char="•"/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02DA29-5EFC-440D-B088-7647B32384F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374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02DA29-5EFC-440D-B088-7647B32384F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043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273863" y="5076693"/>
            <a:ext cx="11629504" cy="147520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 bwMode="gray">
          <a:xfrm>
            <a:off x="273863" y="5293054"/>
            <a:ext cx="11629504" cy="427497"/>
          </a:xfrm>
        </p:spPr>
        <p:txBody>
          <a:bodyPr/>
          <a:lstStyle>
            <a:lvl1pPr>
              <a:defRPr sz="32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273863" y="5785540"/>
            <a:ext cx="11629504" cy="287188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277167" y="6146509"/>
            <a:ext cx="11629504" cy="216000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5542" y="1272540"/>
            <a:ext cx="11630692" cy="4640831"/>
          </a:xfrm>
        </p:spPr>
        <p:txBody>
          <a:bodyPr/>
          <a:lstStyle>
            <a:lvl1pPr>
              <a:spcBef>
                <a:spcPts val="900"/>
              </a:spcBef>
              <a:defRPr sz="18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>
              <a:spcBef>
                <a:spcPts val="900"/>
              </a:spcBef>
              <a:buNone/>
              <a:defRPr sz="18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18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18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18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18"/>
          </p:nvPr>
        </p:nvSpPr>
        <p:spPr>
          <a:xfrm>
            <a:off x="273050" y="6443663"/>
            <a:ext cx="1360488" cy="131762"/>
          </a:xfrm>
        </p:spPr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CC005206-F139-493C-9030-B11CD72785DE}" type="datetime4">
              <a:rPr lang="de-CH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3F076C20-CFE9-4D62-B093-C00FC0C36C0E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_mit_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5452639"/>
            <a:ext cx="11519660" cy="75528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25"/>
          </p:nvPr>
        </p:nvSpPr>
        <p:spPr>
          <a:xfrm>
            <a:off x="360363" y="6388100"/>
            <a:ext cx="1360487" cy="131763"/>
          </a:xfrm>
        </p:spPr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57F86CCE-AC91-4405-91C7-2A42BA898FF2}" type="datetime4">
              <a:rPr lang="de-CH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1B571714-5E8C-4D6E-AF20-22A9A3CAC19F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5542" y="2771345"/>
            <a:ext cx="11630692" cy="3142025"/>
          </a:xfrm>
        </p:spPr>
        <p:txBody>
          <a:bodyPr/>
          <a:lstStyle>
            <a:lvl1pPr>
              <a:spcBef>
                <a:spcPts val="900"/>
              </a:spcBef>
              <a:defRPr sz="20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1524877"/>
            <a:ext cx="11519660" cy="755280"/>
          </a:xfrm>
          <a:solidFill>
            <a:srgbClr val="92D050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Textmasterformate durch Klicken bearbeiten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BD25EF69-EDF7-47D7-9049-F6AC93B038CA}" type="datetime4">
              <a:rPr lang="de-CH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A9756563-B65C-4CF3-B70A-CB5B5659FB51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5542" y="2771345"/>
            <a:ext cx="11630692" cy="3142025"/>
          </a:xfrm>
        </p:spPr>
        <p:txBody>
          <a:bodyPr/>
          <a:lstStyle>
            <a:lvl1pPr>
              <a:spcBef>
                <a:spcPts val="900"/>
              </a:spcBef>
              <a:defRPr sz="20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1524877"/>
            <a:ext cx="11519660" cy="755280"/>
          </a:xfrm>
          <a:solidFill>
            <a:srgbClr val="00B0F0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Textmasterformate durch Klicken bearbeiten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BD1BDB0B-200C-4414-A771-8D245587B02A}" type="datetime4">
              <a:rPr lang="de-CH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3D7F864E-BD8C-4874-9601-78885D768864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7019" y="1816571"/>
            <a:ext cx="11629215" cy="4096868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79400" y="1120928"/>
            <a:ext cx="11626834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79400" y="622789"/>
            <a:ext cx="11626834" cy="410899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5D167D6D-563D-484E-BCAC-918A83F41663}" type="datetime4">
              <a:rPr lang="de-CH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26CF2F9F-0949-498D-879F-639F24B391AE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Inhalt un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22"/>
          <p:cNvCxnSpPr/>
          <p:nvPr userDrawn="1"/>
        </p:nvCxnSpPr>
        <p:spPr bwMode="gray">
          <a:xfrm>
            <a:off x="333375" y="3600450"/>
            <a:ext cx="115189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13"/>
          <p:cNvCxnSpPr/>
          <p:nvPr userDrawn="1"/>
        </p:nvCxnSpPr>
        <p:spPr bwMode="gray">
          <a:xfrm>
            <a:off x="6094413" y="1931988"/>
            <a:ext cx="0" cy="333692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1" y="1931199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1533" y="1931199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21" y="3737726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1533" y="3737726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24" y="5452639"/>
            <a:ext cx="11519660" cy="628845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3" y="1085213"/>
            <a:ext cx="11519661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25"/>
          </p:nvPr>
        </p:nvSpPr>
        <p:spPr>
          <a:xfrm>
            <a:off x="374650" y="6388100"/>
            <a:ext cx="1360488" cy="13176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F826AC37-9C70-48F4-9D9B-F011B7C962E0}" type="datetime4">
              <a:rPr lang="de-CH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AA99556B-4858-4BD6-9BC7-EC71629EEEE5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4: Inhalt und Bo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22"/>
          <p:cNvCxnSpPr/>
          <p:nvPr userDrawn="1"/>
        </p:nvCxnSpPr>
        <p:spPr bwMode="gray">
          <a:xfrm>
            <a:off x="273050" y="4324350"/>
            <a:ext cx="115189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" name="Straight Connector 13"/>
          <p:cNvCxnSpPr>
            <a:cxnSpLocks/>
          </p:cNvCxnSpPr>
          <p:nvPr userDrawn="1"/>
        </p:nvCxnSpPr>
        <p:spPr bwMode="gray">
          <a:xfrm>
            <a:off x="6094413" y="1354138"/>
            <a:ext cx="0" cy="454183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21" y="1354134"/>
            <a:ext cx="5620451" cy="2798764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1533" y="1354134"/>
            <a:ext cx="5620451" cy="279876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79400" y="4365355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1533" y="4356581"/>
            <a:ext cx="5620451" cy="1530893"/>
          </a:xfrm>
        </p:spPr>
        <p:txBody>
          <a:bodyPr lIns="0" tIns="0" rIns="0" bIns="0" anchor="ctr"/>
          <a:lstStyle>
            <a:lvl1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algn="ctr"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760439D9-25CC-40AC-B749-3C67C2930679}" type="datetime4">
              <a:rPr lang="de-CH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2C82BBC1-3EDD-44E8-806F-4AA9DFD32535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67154FEE-8CEC-4B80-9420-96624C4E208A}" type="datetime4">
              <a:rPr lang="de-CH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en-US"/>
              <a:t>Seite </a:t>
            </a:r>
            <a:fld id="{CB76470A-B273-43B5-B5BF-7BF4BF89D70B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88925" y="6443663"/>
            <a:ext cx="1360488" cy="1317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0" indent="0">
              <a:defRPr sz="1000">
                <a:solidFill>
                  <a:schemeClr val="accent4"/>
                </a:solidFill>
              </a:defRPr>
            </a:lvl2pPr>
            <a:lvl3pPr marL="0" indent="0">
              <a:defRPr sz="1000">
                <a:solidFill>
                  <a:schemeClr val="accent4"/>
                </a:solidFill>
              </a:defRPr>
            </a:lvl3pPr>
            <a:lvl4pPr marL="0" indent="0">
              <a:defRPr sz="1000">
                <a:solidFill>
                  <a:schemeClr val="accent4"/>
                </a:solidFill>
              </a:defRPr>
            </a:lvl4pPr>
            <a:lvl5pPr marL="0" indent="0">
              <a:defRPr sz="1000">
                <a:solidFill>
                  <a:schemeClr val="accent4"/>
                </a:solidFill>
              </a:defRPr>
            </a:lvl5pPr>
            <a:lvl6pPr marL="0" indent="0">
              <a:defRPr sz="1000">
                <a:solidFill>
                  <a:schemeClr val="accent4"/>
                </a:solidFill>
              </a:defRPr>
            </a:lvl6pPr>
            <a:lvl7pPr marL="0" indent="0">
              <a:defRPr sz="1000">
                <a:solidFill>
                  <a:schemeClr val="accent4"/>
                </a:solidFill>
              </a:defRPr>
            </a:lvl7pPr>
            <a:lvl8pPr marL="0" indent="0">
              <a:defRPr sz="1000">
                <a:solidFill>
                  <a:schemeClr val="accent4"/>
                </a:solidFill>
              </a:defRPr>
            </a:lvl8pPr>
            <a:lvl9pPr marL="0" indent="0">
              <a:defRPr sz="1000">
                <a:solidFill>
                  <a:schemeClr val="accent4"/>
                </a:solidFill>
              </a:defRPr>
            </a:lvl9pPr>
          </a:lstStyle>
          <a:p>
            <a:pPr>
              <a:defRPr/>
            </a:pPr>
            <a:fld id="{8AE91B59-EE67-42E3-974B-CBD19C2E273E}" type="datetime4">
              <a:rPr lang="de-CH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7813" y="1816100"/>
            <a:ext cx="11628437" cy="409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gray">
          <a:xfrm>
            <a:off x="279400" y="622300"/>
            <a:ext cx="1162685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556875" y="6443663"/>
            <a:ext cx="114935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0" indent="0">
              <a:defRPr sz="1200">
                <a:solidFill>
                  <a:schemeClr val="accent4"/>
                </a:solidFill>
              </a:defRPr>
            </a:lvl2pPr>
            <a:lvl3pPr marL="0" indent="0">
              <a:defRPr sz="1200">
                <a:solidFill>
                  <a:schemeClr val="accent4"/>
                </a:solidFill>
              </a:defRPr>
            </a:lvl3pPr>
            <a:lvl4pPr marL="0" indent="0">
              <a:defRPr sz="1200">
                <a:solidFill>
                  <a:schemeClr val="accent4"/>
                </a:solidFill>
              </a:defRPr>
            </a:lvl4pPr>
            <a:lvl5pPr marL="0" indent="0">
              <a:defRPr sz="1200">
                <a:solidFill>
                  <a:schemeClr val="accent4"/>
                </a:solidFill>
              </a:defRPr>
            </a:lvl5pPr>
            <a:lvl6pPr marL="0" indent="0">
              <a:defRPr sz="1200">
                <a:solidFill>
                  <a:schemeClr val="accent4"/>
                </a:solidFill>
              </a:defRPr>
            </a:lvl6pPr>
            <a:lvl7pPr marL="0" indent="0">
              <a:defRPr sz="1200">
                <a:solidFill>
                  <a:schemeClr val="accent4"/>
                </a:solidFill>
              </a:defRPr>
            </a:lvl7pPr>
            <a:lvl8pPr marL="0" indent="0">
              <a:defRPr sz="1200">
                <a:solidFill>
                  <a:schemeClr val="accent4"/>
                </a:solidFill>
              </a:defRPr>
            </a:lvl8pPr>
            <a:lvl9pPr marL="0" indent="0">
              <a:defRPr sz="1200">
                <a:solidFill>
                  <a:schemeClr val="accent4"/>
                </a:solidFill>
              </a:defRPr>
            </a:lvl9pPr>
          </a:lstStyle>
          <a:p>
            <a:pPr>
              <a:defRPr/>
            </a:pPr>
            <a:r>
              <a:rPr lang="en-US"/>
              <a:t>Seite </a:t>
            </a:r>
            <a:fld id="{CEF83977-C595-48D6-ACD3-F52B6C282511}" type="slidenum">
              <a:rPr lang="en-US" smtClean="0"/>
              <a:pPr>
                <a:defRPr/>
              </a:pPr>
              <a:t>‹Nr.›</a:t>
            </a:fld>
            <a:endParaRPr lang="en-US"/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279400" y="6094413"/>
            <a:ext cx="1162685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88" r:id="rId1"/>
    <p:sldLayoutId id="2147484589" r:id="rId2"/>
    <p:sldLayoutId id="2147484590" r:id="rId3"/>
    <p:sldLayoutId id="2147484591" r:id="rId4"/>
    <p:sldLayoutId id="2147484592" r:id="rId5"/>
    <p:sldLayoutId id="2147484593" r:id="rId6"/>
    <p:sldLayoutId id="2147484594" r:id="rId7"/>
    <p:sldLayoutId id="2147484595" r:id="rId8"/>
    <p:sldLayoutId id="2147484596" r:id="rId9"/>
  </p:sldLayoutIdLst>
  <p:transition spd="slow">
    <p:fade/>
  </p:transition>
  <p:hf hdr="0"/>
  <p:txStyles>
    <p:titleStyle>
      <a:lvl1pPr algn="l" rtl="0" fontAlgn="base">
        <a:spcBef>
          <a:spcPct val="0"/>
        </a:spcBef>
        <a:spcAft>
          <a:spcPct val="0"/>
        </a:spcAft>
        <a:defRPr sz="26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2pPr>
      <a:lvl3pPr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3pPr>
      <a:lvl4pPr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4pPr>
      <a:lvl5pPr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  <a:ea typeface="Verdana" pitchFamily="34" charset="0"/>
          <a:cs typeface="ABBvoiceOffice"/>
        </a:defRPr>
      </a:lvl9pPr>
    </p:titleStyle>
    <p:bodyStyle>
      <a:lvl1pPr algn="l" rtl="0" fontAlgn="base">
        <a:spcBef>
          <a:spcPts val="600"/>
        </a:spcBef>
        <a:spcAft>
          <a:spcPct val="0"/>
        </a:spcAft>
        <a:buFont typeface="ABBvoiceOffice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179388" indent="-179388" algn="l" rtl="0" fontAlgn="base">
        <a:spcBef>
          <a:spcPts val="6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358775" indent="-179388" algn="l" rtl="0" fontAlgn="base">
        <a:spcBef>
          <a:spcPts val="600"/>
        </a:spcBef>
        <a:spcAft>
          <a:spcPct val="0"/>
        </a:spcAft>
        <a:buFont typeface="ABBvoiceOffice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358775" indent="-179388" algn="l" rtl="0" fontAlgn="base">
        <a:spcBef>
          <a:spcPts val="600"/>
        </a:spcBef>
        <a:spcAft>
          <a:spcPct val="0"/>
        </a:spcAft>
        <a:buFont typeface="ABBvoiceOffice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358775" indent="-179388" algn="l" rtl="0" fontAlgn="base">
        <a:spcBef>
          <a:spcPts val="600"/>
        </a:spcBef>
        <a:spcAft>
          <a:spcPct val="0"/>
        </a:spcAft>
        <a:buFont typeface="ABBvoiceOffice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E71692-F42C-4A48-B1F8-A2F38522F3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7019" y="1816571"/>
            <a:ext cx="11629215" cy="4096868"/>
          </a:xfrm>
        </p:spPr>
        <p:txBody>
          <a:bodyPr/>
          <a:lstStyle/>
          <a:p>
            <a:r>
              <a:rPr lang="de-DE" b="1" dirty="0"/>
              <a:t>B</a:t>
            </a:r>
            <a:endParaRPr lang="de-CH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0111B6BC-9DE2-495F-9B31-B0F029FC69B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CH" dirty="0"/>
              <a:t>Blockschaltbild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8AECBA4-C3CD-4824-8BA9-4B5608EC1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CH" dirty="0"/>
              <a:t>Spezifikation eigene Leiterplatt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7853FB1-E0AB-43CE-B088-D32FADC9A41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fld id="{BD25EF69-EDF7-47D7-9049-F6AC93B038CA}" type="datetime4">
              <a:rPr lang="de-CH" smtClean="0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B14A2A-5458-4FD2-B164-B67F409408B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eite </a:t>
            </a:r>
            <a:fld id="{A9756563-B65C-4CF3-B70A-CB5B5659FB5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A5375822-94A2-4910-A966-AFA37D3407C9}"/>
              </a:ext>
            </a:extLst>
          </p:cNvPr>
          <p:cNvSpPr/>
          <p:nvPr/>
        </p:nvSpPr>
        <p:spPr bwMode="gray">
          <a:xfrm>
            <a:off x="277019" y="2464570"/>
            <a:ext cx="2556000" cy="1512000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/>
              <a:t>Stromversorgung</a:t>
            </a:r>
          </a:p>
          <a:p>
            <a:pPr algn="ctr"/>
            <a:endParaRPr lang="de-DE" sz="1400" dirty="0"/>
          </a:p>
          <a:p>
            <a:pPr algn="ctr"/>
            <a:r>
              <a:rPr lang="de-DE" sz="1400" dirty="0"/>
              <a:t>DC/DC Converter</a:t>
            </a:r>
          </a:p>
          <a:p>
            <a:pPr algn="ctr"/>
            <a:r>
              <a:rPr lang="de-DE" sz="1400" dirty="0"/>
              <a:t>In: 5-24V</a:t>
            </a:r>
          </a:p>
          <a:p>
            <a:pPr algn="ctr"/>
            <a:r>
              <a:rPr lang="de-DE" sz="1400" dirty="0"/>
              <a:t>Out: 3.3V, max. 3A</a:t>
            </a: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E5F4EE5E-63B7-4EE2-BAA0-02A861B3FBEC}"/>
              </a:ext>
            </a:extLst>
          </p:cNvPr>
          <p:cNvSpPr/>
          <p:nvPr/>
        </p:nvSpPr>
        <p:spPr bwMode="gray">
          <a:xfrm>
            <a:off x="3300166" y="2464571"/>
            <a:ext cx="2556000" cy="432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/>
              <a:t>Embedded ST-LINK/V2-1</a:t>
            </a:r>
          </a:p>
        </p:txBody>
      </p:sp>
      <p:sp>
        <p:nvSpPr>
          <p:cNvPr id="63" name="Rechteck: abgerundete Ecken 62">
            <a:extLst>
              <a:ext uri="{FF2B5EF4-FFF2-40B4-BE49-F238E27FC236}">
                <a16:creationId xmlns:a16="http://schemas.microsoft.com/office/drawing/2014/main" id="{B1A5EF2A-D585-414B-BAC2-D806699B9A7E}"/>
              </a:ext>
            </a:extLst>
          </p:cNvPr>
          <p:cNvSpPr/>
          <p:nvPr/>
        </p:nvSpPr>
        <p:spPr bwMode="gray">
          <a:xfrm>
            <a:off x="3300166" y="3114000"/>
            <a:ext cx="2556000" cy="432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/>
              <a:t>SWD-Interface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B8897E4A-8B7A-44AF-9BC0-F288E2E6D76F}"/>
              </a:ext>
            </a:extLst>
          </p:cNvPr>
          <p:cNvSpPr/>
          <p:nvPr/>
        </p:nvSpPr>
        <p:spPr bwMode="gray">
          <a:xfrm>
            <a:off x="277019" y="1816571"/>
            <a:ext cx="2556000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Power</a:t>
            </a: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0168DE37-4721-4EB2-9C61-7F2AD9087C27}"/>
              </a:ext>
            </a:extLst>
          </p:cNvPr>
          <p:cNvSpPr/>
          <p:nvPr/>
        </p:nvSpPr>
        <p:spPr bwMode="gray">
          <a:xfrm>
            <a:off x="3300166" y="1816571"/>
            <a:ext cx="2556000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ore</a:t>
            </a:r>
          </a:p>
        </p:txBody>
      </p: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FAFA364A-E745-4FDD-89EC-1880819932B6}"/>
              </a:ext>
            </a:extLst>
          </p:cNvPr>
          <p:cNvSpPr/>
          <p:nvPr/>
        </p:nvSpPr>
        <p:spPr bwMode="gray">
          <a:xfrm>
            <a:off x="6323313" y="1816571"/>
            <a:ext cx="2556000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Analog</a:t>
            </a:r>
          </a:p>
        </p:txBody>
      </p: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35AA57EB-0F2E-47FC-BABD-17CA881F7514}"/>
              </a:ext>
            </a:extLst>
          </p:cNvPr>
          <p:cNvSpPr/>
          <p:nvPr/>
        </p:nvSpPr>
        <p:spPr bwMode="gray">
          <a:xfrm>
            <a:off x="9349200" y="1816571"/>
            <a:ext cx="2556000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Digital/Interface</a:t>
            </a: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8404B716-C644-48D2-A8D1-D55F0603607C}"/>
              </a:ext>
            </a:extLst>
          </p:cNvPr>
          <p:cNvSpPr/>
          <p:nvPr/>
        </p:nvSpPr>
        <p:spPr bwMode="gray">
          <a:xfrm>
            <a:off x="277019" y="4194000"/>
            <a:ext cx="2556000" cy="1728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3-Phasen Brücke</a:t>
            </a:r>
          </a:p>
          <a:p>
            <a:pPr algn="ctr"/>
            <a:endParaRPr lang="de-DE" sz="1400" dirty="0">
              <a:solidFill>
                <a:schemeClr val="bg1"/>
              </a:solidFill>
            </a:endParaRPr>
          </a:p>
          <a:p>
            <a:pPr algn="ctr"/>
            <a:r>
              <a:rPr lang="de-DE" sz="1400" dirty="0">
                <a:solidFill>
                  <a:schemeClr val="bg1"/>
                </a:solidFill>
              </a:rPr>
              <a:t>verwendbar als:</a:t>
            </a:r>
          </a:p>
          <a:p>
            <a:pPr marL="285750" indent="-285750" algn="ctr">
              <a:buFontTx/>
              <a:buChar char="-"/>
            </a:pPr>
            <a:r>
              <a:rPr lang="de-DE" sz="1400" dirty="0">
                <a:solidFill>
                  <a:schemeClr val="bg1"/>
                </a:solidFill>
              </a:rPr>
              <a:t>H-Brücke</a:t>
            </a:r>
          </a:p>
          <a:p>
            <a:pPr marL="285750" indent="-285750" algn="ctr">
              <a:buFontTx/>
              <a:buChar char="-"/>
            </a:pPr>
            <a:r>
              <a:rPr lang="de-DE" sz="1400" dirty="0">
                <a:solidFill>
                  <a:schemeClr val="bg1"/>
                </a:solidFill>
              </a:rPr>
              <a:t>Push-Pull</a:t>
            </a:r>
          </a:p>
          <a:p>
            <a:pPr marL="285750" indent="-285750" algn="ctr">
              <a:buFontTx/>
              <a:buChar char="-"/>
            </a:pPr>
            <a:r>
              <a:rPr lang="de-DE" sz="1400" dirty="0">
                <a:solidFill>
                  <a:schemeClr val="bg1"/>
                </a:solidFill>
              </a:rPr>
              <a:t>Open-Drain</a:t>
            </a: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EB859F38-8D78-4E85-8CCA-1176EEE28BC6}"/>
              </a:ext>
            </a:extLst>
          </p:cNvPr>
          <p:cNvSpPr/>
          <p:nvPr/>
        </p:nvSpPr>
        <p:spPr bwMode="gray">
          <a:xfrm>
            <a:off x="3300166" y="3762000"/>
            <a:ext cx="2556000" cy="2158869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/>
              <a:t>Microcontroller</a:t>
            </a:r>
          </a:p>
          <a:p>
            <a:pPr algn="ctr"/>
            <a:endParaRPr lang="de-DE" sz="1400" dirty="0"/>
          </a:p>
          <a:p>
            <a:pPr algn="ctr"/>
            <a:r>
              <a:rPr lang="de-DE" sz="1400" dirty="0"/>
              <a:t>STMicroelectronics</a:t>
            </a:r>
            <a:br>
              <a:rPr lang="de-DE" sz="1400" dirty="0"/>
            </a:br>
            <a:r>
              <a:rPr lang="de-DE" sz="1400" dirty="0"/>
              <a:t>ARM Cortex M4 + FPU</a:t>
            </a:r>
          </a:p>
          <a:p>
            <a:pPr algn="ctr"/>
            <a:r>
              <a:rPr lang="de-DE" sz="1400" dirty="0"/>
              <a:t>STM32F411VC</a:t>
            </a:r>
          </a:p>
          <a:p>
            <a:pPr algn="ctr"/>
            <a:endParaRPr lang="de-DE" sz="1400" dirty="0"/>
          </a:p>
          <a:p>
            <a:pPr algn="ctr"/>
            <a:r>
              <a:rPr lang="de-DE" sz="1400" dirty="0"/>
              <a:t>3x I2C/USART, 5x SPI</a:t>
            </a:r>
          </a:p>
          <a:p>
            <a:pPr algn="ctr"/>
            <a:r>
              <a:rPr lang="de-DE" sz="1400" dirty="0"/>
              <a:t>11x </a:t>
            </a:r>
            <a:r>
              <a:rPr lang="de-DE" sz="1400" dirty="0" err="1"/>
              <a:t>Timer</a:t>
            </a:r>
            <a:r>
              <a:rPr lang="de-DE" sz="1400" dirty="0"/>
              <a:t>, 12bit ADC</a:t>
            </a:r>
          </a:p>
        </p:txBody>
      </p:sp>
      <p:sp>
        <p:nvSpPr>
          <p:cNvPr id="71" name="Rechteck: abgerundete Ecken 70">
            <a:extLst>
              <a:ext uri="{FF2B5EF4-FFF2-40B4-BE49-F238E27FC236}">
                <a16:creationId xmlns:a16="http://schemas.microsoft.com/office/drawing/2014/main" id="{81EF00AF-0001-453D-A7B6-414A33097418}"/>
              </a:ext>
            </a:extLst>
          </p:cNvPr>
          <p:cNvSpPr/>
          <p:nvPr/>
        </p:nvSpPr>
        <p:spPr bwMode="gray">
          <a:xfrm>
            <a:off x="6323313" y="4193999"/>
            <a:ext cx="2556000" cy="433429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 Achsen Joystick</a:t>
            </a:r>
          </a:p>
        </p:txBody>
      </p:sp>
      <p:sp>
        <p:nvSpPr>
          <p:cNvPr id="72" name="Rechteck: abgerundete Ecken 71">
            <a:extLst>
              <a:ext uri="{FF2B5EF4-FFF2-40B4-BE49-F238E27FC236}">
                <a16:creationId xmlns:a16="http://schemas.microsoft.com/office/drawing/2014/main" id="{F85F4731-6D8F-4303-910E-B34ABA4054A5}"/>
              </a:ext>
            </a:extLst>
          </p:cNvPr>
          <p:cNvSpPr/>
          <p:nvPr/>
        </p:nvSpPr>
        <p:spPr bwMode="gray">
          <a:xfrm>
            <a:off x="6323313" y="4842000"/>
            <a:ext cx="2556000" cy="432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5-Weg Taster</a:t>
            </a:r>
          </a:p>
        </p:txBody>
      </p:sp>
      <p:sp>
        <p:nvSpPr>
          <p:cNvPr id="73" name="Rechteck: abgerundete Ecken 72">
            <a:extLst>
              <a:ext uri="{FF2B5EF4-FFF2-40B4-BE49-F238E27FC236}">
                <a16:creationId xmlns:a16="http://schemas.microsoft.com/office/drawing/2014/main" id="{676B4FA1-46CE-4CDB-91C3-FE17BDB150C0}"/>
              </a:ext>
            </a:extLst>
          </p:cNvPr>
          <p:cNvSpPr/>
          <p:nvPr/>
        </p:nvSpPr>
        <p:spPr bwMode="gray">
          <a:xfrm>
            <a:off x="6323313" y="5490000"/>
            <a:ext cx="2556000" cy="4320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Rotary Encoder, gerastert</a:t>
            </a:r>
          </a:p>
        </p:txBody>
      </p:sp>
      <p:sp>
        <p:nvSpPr>
          <p:cNvPr id="74" name="Rechteck: abgerundete Ecken 73">
            <a:extLst>
              <a:ext uri="{FF2B5EF4-FFF2-40B4-BE49-F238E27FC236}">
                <a16:creationId xmlns:a16="http://schemas.microsoft.com/office/drawing/2014/main" id="{7BA7F1DB-17CB-419A-95E2-D59AAEA30B84}"/>
              </a:ext>
            </a:extLst>
          </p:cNvPr>
          <p:cNvSpPr/>
          <p:nvPr/>
        </p:nvSpPr>
        <p:spPr bwMode="gray">
          <a:xfrm>
            <a:off x="6325200" y="2466000"/>
            <a:ext cx="2556000" cy="88549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8x Single-</a:t>
            </a:r>
            <a:r>
              <a:rPr lang="de-DE" sz="1400" dirty="0" err="1">
                <a:solidFill>
                  <a:schemeClr val="tx1"/>
                </a:solidFill>
              </a:rPr>
              <a:t>Ended</a:t>
            </a:r>
            <a:r>
              <a:rPr lang="de-DE" sz="1400" dirty="0">
                <a:solidFill>
                  <a:schemeClr val="tx1"/>
                </a:solidFill>
              </a:rPr>
              <a:t> ADC</a:t>
            </a: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mit SGA x1 x10 x50 und</a:t>
            </a:r>
          </a:p>
          <a:p>
            <a:pPr algn="ctr"/>
            <a:r>
              <a:rPr lang="de-DE" sz="1400" dirty="0" err="1">
                <a:solidFill>
                  <a:schemeClr val="tx1"/>
                </a:solidFill>
              </a:rPr>
              <a:t>Sp</a:t>
            </a:r>
            <a:r>
              <a:rPr lang="de-DE" sz="1400" dirty="0">
                <a:solidFill>
                  <a:schemeClr val="tx1"/>
                </a:solidFill>
              </a:rPr>
              <a:t>.-Teiler x1/30 x1/3</a:t>
            </a:r>
          </a:p>
        </p:txBody>
      </p:sp>
      <p:sp>
        <p:nvSpPr>
          <p:cNvPr id="76" name="Rechteck: abgerundete Ecken 75">
            <a:extLst>
              <a:ext uri="{FF2B5EF4-FFF2-40B4-BE49-F238E27FC236}">
                <a16:creationId xmlns:a16="http://schemas.microsoft.com/office/drawing/2014/main" id="{9F1097C2-3651-4655-870F-9C52D2948198}"/>
              </a:ext>
            </a:extLst>
          </p:cNvPr>
          <p:cNvSpPr/>
          <p:nvPr/>
        </p:nvSpPr>
        <p:spPr bwMode="gray">
          <a:xfrm>
            <a:off x="9349200" y="2466000"/>
            <a:ext cx="2556000" cy="432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</a:rPr>
              <a:t>MicroSD</a:t>
            </a:r>
            <a:r>
              <a:rPr lang="de-DE" sz="1400" dirty="0">
                <a:solidFill>
                  <a:schemeClr val="tx1"/>
                </a:solidFill>
              </a:rPr>
              <a:t> Slot</a:t>
            </a:r>
          </a:p>
        </p:txBody>
      </p:sp>
      <p:sp>
        <p:nvSpPr>
          <p:cNvPr id="77" name="Rechteck: abgerundete Ecken 76">
            <a:extLst>
              <a:ext uri="{FF2B5EF4-FFF2-40B4-BE49-F238E27FC236}">
                <a16:creationId xmlns:a16="http://schemas.microsoft.com/office/drawing/2014/main" id="{4355C99C-2D9D-4769-A84F-66DF43E75274}"/>
              </a:ext>
            </a:extLst>
          </p:cNvPr>
          <p:cNvSpPr/>
          <p:nvPr/>
        </p:nvSpPr>
        <p:spPr bwMode="gray">
          <a:xfrm>
            <a:off x="9349200" y="3114000"/>
            <a:ext cx="2556000" cy="648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8x RGB-LEDs via</a:t>
            </a:r>
          </a:p>
          <a:p>
            <a:pPr algn="ctr"/>
            <a:r>
              <a:rPr lang="de-DE" sz="1400" dirty="0" err="1">
                <a:solidFill>
                  <a:schemeClr val="tx1"/>
                </a:solidFill>
              </a:rPr>
              <a:t>latched</a:t>
            </a:r>
            <a:r>
              <a:rPr lang="de-DE" sz="1400" dirty="0">
                <a:solidFill>
                  <a:schemeClr val="tx1"/>
                </a:solidFill>
              </a:rPr>
              <a:t> Shift-Registers</a:t>
            </a:r>
          </a:p>
        </p:txBody>
      </p:sp>
      <p:sp>
        <p:nvSpPr>
          <p:cNvPr id="78" name="Rechteck: abgerundete Ecken 77">
            <a:extLst>
              <a:ext uri="{FF2B5EF4-FFF2-40B4-BE49-F238E27FC236}">
                <a16:creationId xmlns:a16="http://schemas.microsoft.com/office/drawing/2014/main" id="{C28864E0-05A7-4B57-88AD-CD3DAB96DFDD}"/>
              </a:ext>
            </a:extLst>
          </p:cNvPr>
          <p:cNvSpPr/>
          <p:nvPr/>
        </p:nvSpPr>
        <p:spPr bwMode="gray">
          <a:xfrm>
            <a:off x="9349200" y="3976570"/>
            <a:ext cx="2556000" cy="648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QVGA LCD (320x240)</a:t>
            </a:r>
          </a:p>
          <a:p>
            <a:pPr algn="ctr"/>
            <a:r>
              <a:rPr lang="de-DE" sz="1400" dirty="0">
                <a:solidFill>
                  <a:schemeClr val="tx1"/>
                </a:solidFill>
              </a:rPr>
              <a:t>mit resistive Touch</a:t>
            </a:r>
          </a:p>
        </p:txBody>
      </p:sp>
      <p:sp>
        <p:nvSpPr>
          <p:cNvPr id="80" name="Rechteck: abgerundete Ecken 79">
            <a:extLst>
              <a:ext uri="{FF2B5EF4-FFF2-40B4-BE49-F238E27FC236}">
                <a16:creationId xmlns:a16="http://schemas.microsoft.com/office/drawing/2014/main" id="{947AE890-22D5-4F6D-9D55-BB7BC72B4628}"/>
              </a:ext>
            </a:extLst>
          </p:cNvPr>
          <p:cNvSpPr/>
          <p:nvPr/>
        </p:nvSpPr>
        <p:spPr bwMode="gray">
          <a:xfrm>
            <a:off x="9349200" y="5488869"/>
            <a:ext cx="2556000" cy="432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SPI, I2C, USART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86103441-5795-4702-B7C3-3F68192EC2E9}"/>
              </a:ext>
            </a:extLst>
          </p:cNvPr>
          <p:cNvSpPr/>
          <p:nvPr/>
        </p:nvSpPr>
        <p:spPr bwMode="gray">
          <a:xfrm>
            <a:off x="6325200" y="3546000"/>
            <a:ext cx="2556000" cy="433429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2x Potentiometer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FC54C338-389E-4BE5-8E6E-32A72EEFE8E7}"/>
              </a:ext>
            </a:extLst>
          </p:cNvPr>
          <p:cNvSpPr/>
          <p:nvPr/>
        </p:nvSpPr>
        <p:spPr bwMode="gray">
          <a:xfrm>
            <a:off x="9349200" y="4842000"/>
            <a:ext cx="2556000" cy="432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USB mit Serial + DFU</a:t>
            </a:r>
          </a:p>
        </p:txBody>
      </p:sp>
    </p:spTree>
    <p:extLst>
      <p:ext uri="{BB962C8B-B14F-4D97-AF65-F5344CB8AC3E}">
        <p14:creationId xmlns:p14="http://schemas.microsoft.com/office/powerpoint/2010/main" val="12037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E71692-F42C-4A48-B1F8-A2F38522F3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18BF4D1-B6F0-49B7-9E42-8C82E1D110E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de-CH" dirty="0"/>
              <a:t>Kostenrelevante Bauteile: </a:t>
            </a:r>
          </a:p>
          <a:p>
            <a:pPr marL="342900" indent="-342900">
              <a:buFontTx/>
              <a:buChar char="-"/>
            </a:pPr>
            <a:r>
              <a:rPr lang="de-CH" dirty="0"/>
              <a:t>ohne 0805/0603</a:t>
            </a:r>
          </a:p>
          <a:p>
            <a:pPr marL="342900" indent="-342900">
              <a:buFontTx/>
              <a:buChar char="-"/>
            </a:pPr>
            <a:r>
              <a:rPr lang="de-CH" dirty="0"/>
              <a:t> R E24</a:t>
            </a:r>
            <a:r>
              <a:rPr lang="de-CH"/>
              <a:t>, C E12</a:t>
            </a:r>
            <a:endParaRPr lang="de-CH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8AECBA4-C3CD-4824-8BA9-4B5608EC1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pezifikation eigene Leiterplatt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7853FB1-E0AB-43CE-B088-D32FADC9A41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fld id="{BD25EF69-EDF7-47D7-9049-F6AC93B038CA}" type="datetime4">
              <a:rPr lang="de-CH" smtClean="0"/>
              <a:pPr>
                <a:defRPr/>
              </a:pPr>
              <a:t>21. April 2021</a:t>
            </a:fld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B14A2A-5458-4FD2-B164-B67F409408B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eite </a:t>
            </a:r>
            <a:fld id="{A9756563-B65C-4CF3-B70A-CB5B5659FB5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F592A3A-F393-47FB-AEC9-36FF9FAC5F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8420" y="1120928"/>
            <a:ext cx="8034974" cy="479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76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aster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3C3C3C"/>
      </a:accent1>
      <a:accent2>
        <a:srgbClr val="505050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Benutzerdefiniert 2">
      <a:majorFont>
        <a:latin typeface="Verdana"/>
        <a:ea typeface="ABBvoiceOffice"/>
        <a:cs typeface="ABBvoiceOffice"/>
      </a:majorFont>
      <a:minorFont>
        <a:latin typeface="Verdana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4</Words>
  <Application>Microsoft Office PowerPoint</Application>
  <PresentationFormat>Benutzerdefiniert</PresentationFormat>
  <Paragraphs>52</Paragraphs>
  <Slides>2</Slides>
  <Notes>2</Notes>
  <HiddenSlides>0</HiddenSlides>
  <MMClips>0</MMClips>
  <ScaleCrop>false</ScaleCrop>
  <HeadingPairs>
    <vt:vector size="10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  <vt:variant>
        <vt:lpstr>Zielgruppenorientierte Präsentationen</vt:lpstr>
      </vt:variant>
      <vt:variant>
        <vt:i4>1</vt:i4>
      </vt:variant>
    </vt:vector>
  </HeadingPairs>
  <TitlesOfParts>
    <vt:vector size="9" baseType="lpstr">
      <vt:lpstr>Symbol</vt:lpstr>
      <vt:lpstr>ABBvoiceOffice</vt:lpstr>
      <vt:lpstr>Verdana</vt:lpstr>
      <vt:lpstr>Arial</vt:lpstr>
      <vt:lpstr>1_Master</vt:lpstr>
      <vt:lpstr>think-cell Slide</vt:lpstr>
      <vt:lpstr>Spezifikation eigene Leiterplatte</vt:lpstr>
      <vt:lpstr>Spezifikation eigene Leiterplatte</vt:lpstr>
      <vt:lpstr>Basic 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fan Wicki</dc:creator>
  <cp:lastModifiedBy>J. Bussmann</cp:lastModifiedBy>
  <cp:revision>822</cp:revision>
  <cp:lastPrinted>2017-11-09T11:55:17Z</cp:lastPrinted>
  <dcterms:created xsi:type="dcterms:W3CDTF">2016-10-27T06:56:12Z</dcterms:created>
  <dcterms:modified xsi:type="dcterms:W3CDTF">2021-04-21T07:55:27Z</dcterms:modified>
</cp:coreProperties>
</file>